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</p:sldMasterIdLst>
  <p:notesMasterIdLst>
    <p:notesMasterId r:id="rId6"/>
  </p:notesMasterIdLst>
  <p:handoutMasterIdLst>
    <p:handoutMasterId r:id="rId7"/>
  </p:handoutMasterIdLst>
  <p:sldIdLst>
    <p:sldId id="274" r:id="rId5"/>
  </p:sldIdLst>
  <p:sldSz cx="5029200" cy="7772400"/>
  <p:notesSz cx="9388475" cy="710247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BD8A"/>
    <a:srgbClr val="DAF1F9"/>
    <a:srgbClr val="E1C651"/>
    <a:srgbClr val="C8A308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23" autoAdjust="0"/>
    <p:restoredTop sz="94674" autoAdjust="0"/>
  </p:normalViewPr>
  <p:slideViewPr>
    <p:cSldViewPr snapToGrid="0" snapToObjects="1">
      <p:cViewPr varScale="1">
        <p:scale>
          <a:sx n="98" d="100"/>
          <a:sy n="98" d="100"/>
        </p:scale>
        <p:origin x="32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59" d="100"/>
          <a:sy n="59" d="100"/>
        </p:scale>
        <p:origin x="2458" y="8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 /><Relationship Id="rId3" Type="http://schemas.openxmlformats.org/officeDocument/2006/relationships/customXml" Target="../customXml/item3.xml" /><Relationship Id="rId7" Type="http://schemas.openxmlformats.org/officeDocument/2006/relationships/handoutMaster" Target="handoutMasters/handoutMaster1.xml" /><Relationship Id="rId12" Type="http://schemas.openxmlformats.org/officeDocument/2006/relationships/tableStyles" Target="tableStyles.xml" /><Relationship Id="rId2" Type="http://schemas.openxmlformats.org/officeDocument/2006/relationships/customXml" Target="../customXml/item2.xml" /><Relationship Id="rId1" Type="http://schemas.openxmlformats.org/officeDocument/2006/relationships/customXml" Target="../customXml/item1.xml" /><Relationship Id="rId6" Type="http://schemas.openxmlformats.org/officeDocument/2006/relationships/notesMaster" Target="notesMasters/notesMaster1.xml" /><Relationship Id="rId11" Type="http://schemas.openxmlformats.org/officeDocument/2006/relationships/theme" Target="theme/theme1.xml" /><Relationship Id="rId5" Type="http://schemas.openxmlformats.org/officeDocument/2006/relationships/slide" Target="slides/slide1.xml" /><Relationship Id="rId10" Type="http://schemas.openxmlformats.org/officeDocument/2006/relationships/viewProps" Target="viewProps.xml" /><Relationship Id="rId4" Type="http://schemas.openxmlformats.org/officeDocument/2006/relationships/slideMaster" Target="slideMasters/slideMaster1.xml" /><Relationship Id="rId9" Type="http://schemas.openxmlformats.org/officeDocument/2006/relationships/presProps" Target="presProps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855C356-87C3-46C0-9BE5-0C438CD860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0"/>
            <a:ext cx="4068339" cy="356357"/>
          </a:xfrm>
          <a:prstGeom prst="rect">
            <a:avLst/>
          </a:prstGeom>
        </p:spPr>
        <p:txBody>
          <a:bodyPr vert="horz" lIns="94218" tIns="47108" rIns="94218" bIns="471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084F9A-0678-4D9D-A6DE-5580339F30C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317965" y="0"/>
            <a:ext cx="4068339" cy="356357"/>
          </a:xfrm>
          <a:prstGeom prst="rect">
            <a:avLst/>
          </a:prstGeom>
        </p:spPr>
        <p:txBody>
          <a:bodyPr vert="horz" lIns="94218" tIns="47108" rIns="94218" bIns="47108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FA5588-4D70-4A31-96A1-E7657C5224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6746120"/>
            <a:ext cx="4068339" cy="356356"/>
          </a:xfrm>
          <a:prstGeom prst="rect">
            <a:avLst/>
          </a:prstGeom>
        </p:spPr>
        <p:txBody>
          <a:bodyPr vert="horz" lIns="94218" tIns="47108" rIns="94218" bIns="471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593C42-755E-447B-990E-F4CE9365EF3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317965" y="6746120"/>
            <a:ext cx="4068339" cy="356356"/>
          </a:xfrm>
          <a:prstGeom prst="rect">
            <a:avLst/>
          </a:prstGeom>
        </p:spPr>
        <p:txBody>
          <a:bodyPr vert="horz" lIns="94218" tIns="47108" rIns="94218" bIns="47108" rtlCol="0" anchor="b"/>
          <a:lstStyle>
            <a:lvl1pPr algn="r">
              <a:defRPr sz="1200"/>
            </a:lvl1pPr>
          </a:lstStyle>
          <a:p>
            <a:fld id="{CBD836DF-17F6-4050-BFA7-2C163529DC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5461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068339" cy="356357"/>
          </a:xfrm>
          <a:prstGeom prst="rect">
            <a:avLst/>
          </a:prstGeom>
        </p:spPr>
        <p:txBody>
          <a:bodyPr vert="horz" lIns="94218" tIns="47108" rIns="94218" bIns="471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65" y="0"/>
            <a:ext cx="4068339" cy="356357"/>
          </a:xfrm>
          <a:prstGeom prst="rect">
            <a:avLst/>
          </a:prstGeom>
        </p:spPr>
        <p:txBody>
          <a:bodyPr vert="horz" lIns="94218" tIns="47108" rIns="94218" bIns="47108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7950" y="887413"/>
            <a:ext cx="1552575" cy="239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18" tIns="47108" rIns="94218" bIns="471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8" y="3418066"/>
            <a:ext cx="7510780" cy="2796600"/>
          </a:xfrm>
          <a:prstGeom prst="rect">
            <a:avLst/>
          </a:prstGeom>
        </p:spPr>
        <p:txBody>
          <a:bodyPr vert="horz" lIns="94218" tIns="47108" rIns="94218" bIns="4710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6746120"/>
            <a:ext cx="4068339" cy="356356"/>
          </a:xfrm>
          <a:prstGeom prst="rect">
            <a:avLst/>
          </a:prstGeom>
        </p:spPr>
        <p:txBody>
          <a:bodyPr vert="horz" lIns="94218" tIns="47108" rIns="94218" bIns="471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65" y="6746120"/>
            <a:ext cx="4068339" cy="356356"/>
          </a:xfrm>
          <a:prstGeom prst="rect">
            <a:avLst/>
          </a:prstGeom>
        </p:spPr>
        <p:txBody>
          <a:bodyPr vert="horz" lIns="94218" tIns="47108" rIns="94218" bIns="47108" rtlCol="0" anchor="b"/>
          <a:lstStyle>
            <a:lvl1pPr algn="r">
              <a:defRPr sz="1200"/>
            </a:lvl1pPr>
          </a:lstStyle>
          <a:p>
            <a:fld id="{E34B92B7-C405-42F2-A911-E7C15F1E4B6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411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.bin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4E55324-9018-E150-9F82-19DCEC3E4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0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E55324-9018-E150-9F82-19DCEC3E4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73CE0CF-8E13-4F8A-93AD-BFB4E9340D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758" y="2072247"/>
            <a:ext cx="4337685" cy="942562"/>
          </a:xfrm>
        </p:spPr>
        <p:txBody>
          <a:bodyPr anchor="ctr">
            <a:noAutofit/>
          </a:bodyPr>
          <a:lstStyle>
            <a:lvl1pPr>
              <a:defRPr sz="8613" cap="all" spc="34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BRIDE + GROOM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C30CCB5B-985D-4B0C-A0DE-92677D62C2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50152" y="6056796"/>
            <a:ext cx="1328897" cy="734060"/>
          </a:xfrm>
        </p:spPr>
        <p:txBody>
          <a:bodyPr>
            <a:normAutofit/>
          </a:bodyPr>
          <a:lstStyle>
            <a:lvl1pPr>
              <a:defRPr sz="3173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0.25.20</a:t>
            </a:r>
          </a:p>
        </p:txBody>
      </p:sp>
    </p:spTree>
    <p:extLst>
      <p:ext uri="{BB962C8B-B14F-4D97-AF65-F5344CB8AC3E}">
        <p14:creationId xmlns:p14="http://schemas.microsoft.com/office/powerpoint/2010/main" val="36561389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hearsal Dinner 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7381769-0636-4172-A65E-09315A1C3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5758" y="3014811"/>
            <a:ext cx="4337685" cy="1502305"/>
          </a:xfrm>
        </p:spPr>
        <p:txBody>
          <a:bodyPr>
            <a:noAutofit/>
          </a:bodyPr>
          <a:lstStyle>
            <a:lvl1pPr>
              <a:defRPr sz="10880" cap="all" spc="680" baseline="0">
                <a:solidFill>
                  <a:schemeClr val="tx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 dirty="0"/>
              <a:t>WELCO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3E042F-2C9E-4BD8-BBCF-A6E8008D3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048" y="4473933"/>
            <a:ext cx="4025106" cy="734060"/>
          </a:xfrm>
        </p:spPr>
        <p:txBody>
          <a:bodyPr>
            <a:noAutofit/>
          </a:bodyPr>
          <a:lstStyle>
            <a:lvl1pPr>
              <a:defRPr sz="3173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o Our Rehearsal Dinner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8596483-105B-4735-A7BA-F5D0853F0D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5758" y="2072247"/>
            <a:ext cx="4337685" cy="942562"/>
          </a:xfrm>
        </p:spPr>
        <p:txBody>
          <a:bodyPr anchor="ctr">
            <a:noAutofit/>
          </a:bodyPr>
          <a:lstStyle>
            <a:lvl1pPr>
              <a:defRPr sz="8613" cap="all" spc="34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BRIDE + GROOM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27213878-DC22-442E-B6C8-DAF47CB241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50152" y="6056796"/>
            <a:ext cx="1328897" cy="734060"/>
          </a:xfrm>
        </p:spPr>
        <p:txBody>
          <a:bodyPr>
            <a:normAutofit/>
          </a:bodyPr>
          <a:lstStyle>
            <a:lvl1pPr>
              <a:defRPr sz="3173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0.25.XX</a:t>
            </a:r>
          </a:p>
        </p:txBody>
      </p:sp>
    </p:spTree>
    <p:extLst>
      <p:ext uri="{BB962C8B-B14F-4D97-AF65-F5344CB8AC3E}">
        <p14:creationId xmlns:p14="http://schemas.microsoft.com/office/powerpoint/2010/main" val="761053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at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92223-1A83-4FF8-848D-F9FD64B51C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1428976"/>
            <a:ext cx="4023360" cy="94295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987" b="0" cap="all" spc="0" baseline="0">
                <a:solidFill>
                  <a:schemeClr val="tx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 dirty="0"/>
              <a:t>FIND YOUR SEAT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CE749E3-50F7-43AA-8078-217DA822E7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0" y="826199"/>
            <a:ext cx="4023072" cy="94295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5667" cap="all" spc="227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BRIDE + GROOM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92CAD29-00A6-4176-92C3-ECBA996ED7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757" y="3125511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1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C406AE24-E5AD-4AD9-86D9-3A46A0EBA3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5448" y="3125511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2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F473BF3A-5E89-42F3-A9B9-16318E970E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03119" y="3125511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3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E1050BD6-5687-45FB-9A43-127691F836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757" y="5425881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4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612E2008-796B-49AC-843C-456B3AFA4E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21408" y="5425881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5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5D93309-F741-40BE-903F-0D6999BF1C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3119" y="5425881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6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3F045C1D-806B-4CD2-B443-C1E467A731C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78770" y="3131264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3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153BF21F-29A6-447A-BE43-61D1DD3D69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78770" y="5431633"/>
            <a:ext cx="848678" cy="41380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1360" b="1" cap="all" spc="227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BLE 6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C32B373-7F2D-474D-9A64-1AB31886AF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2814" y="3492325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B559BF0E-B8DB-4078-8BFB-82CE6A433FF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532996" y="3492325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4BD57D5-B1E7-4214-B971-C505925BBE7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03121" y="3492325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C8C19FB0-2ADB-475F-A14E-5202DBE2CFB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78422" y="3492325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C9C768F4-8FEF-4E25-B6D4-CE5A763811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6594" y="5785084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42D56F6-3FEF-4ECC-BFAD-562ED06BB8E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25450" y="5785084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674A7BE6-D119-4025-96A5-FD074183AB2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00751" y="5785084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30BDC173-256B-4D7F-AD68-325440FBEE9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876053" y="5785084"/>
            <a:ext cx="805021" cy="1554480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36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nter guests names</a:t>
            </a:r>
          </a:p>
        </p:txBody>
      </p:sp>
    </p:spTree>
    <p:extLst>
      <p:ext uri="{BB962C8B-B14F-4D97-AF65-F5344CB8AC3E}">
        <p14:creationId xmlns:p14="http://schemas.microsoft.com/office/powerpoint/2010/main" val="3533944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1" userDrawn="1">
          <p15:clr>
            <a:srgbClr val="FBAE40"/>
          </p15:clr>
        </p15:guide>
        <p15:guide id="2" orient="horz" pos="87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shtag 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CD1298B0-DF74-4921-ACDD-25CA73EA0D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048" y="4270322"/>
            <a:ext cx="4025106" cy="734060"/>
          </a:xfrm>
        </p:spPr>
        <p:txBody>
          <a:bodyPr>
            <a:noAutofit/>
          </a:bodyPr>
          <a:lstStyle>
            <a:lvl1pPr>
              <a:defRPr sz="317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ost your pictures using our hashtag! 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6D38433A-D9FF-4C22-931F-DD22EE385F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1428976"/>
            <a:ext cx="4023360" cy="94295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987" b="0" cap="all" baseline="0">
                <a:solidFill>
                  <a:schemeClr val="tx1"/>
                </a:solidFill>
                <a:latin typeface="Franklin Gothic Demi" panose="020B0703020102020204" pitchFamily="34" charset="0"/>
              </a:defRPr>
            </a:lvl1pPr>
          </a:lstStyle>
          <a:p>
            <a:r>
              <a:rPr lang="en-US" dirty="0"/>
              <a:t>SHARE THE LOVE</a:t>
            </a:r>
          </a:p>
        </p:txBody>
      </p:sp>
      <p:sp>
        <p:nvSpPr>
          <p:cNvPr id="45" name="Text Placeholder 22">
            <a:extLst>
              <a:ext uri="{FF2B5EF4-FFF2-40B4-BE49-F238E27FC236}">
                <a16:creationId xmlns:a16="http://schemas.microsoft.com/office/drawing/2014/main" id="{F2A74B68-1636-4772-8535-B636BAC6C6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0" y="826199"/>
            <a:ext cx="4023360" cy="94295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5667" cap="all" spc="227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BRIDE + GROOM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123FB0D-6B56-47D6-8C8D-4094F503A3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5758" y="3502078"/>
            <a:ext cx="4337685" cy="768244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6800" cap="all" spc="680" baseline="0" dirty="0">
                <a:solidFill>
                  <a:schemeClr val="tx2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</a:lstStyle>
          <a:p>
            <a:r>
              <a:rPr lang="en-US" sz="6800" dirty="0">
                <a:solidFill>
                  <a:schemeClr val="tx2"/>
                </a:solidFill>
              </a:rPr>
              <a:t>#YOURHASHTAG</a:t>
            </a:r>
          </a:p>
        </p:txBody>
      </p:sp>
    </p:spTree>
    <p:extLst>
      <p:ext uri="{BB962C8B-B14F-4D97-AF65-F5344CB8AC3E}">
        <p14:creationId xmlns:p14="http://schemas.microsoft.com/office/powerpoint/2010/main" val="4007250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 /><Relationship Id="rId3" Type="http://schemas.openxmlformats.org/officeDocument/2006/relationships/slideLayout" Target="../slideLayouts/slideLayout3.xml" /><Relationship Id="rId7" Type="http://schemas.openxmlformats.org/officeDocument/2006/relationships/tags" Target="../tags/tag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vmlDrawing" Target="../drawings/vmlDrawing1.vml" /><Relationship Id="rId11" Type="http://schemas.openxmlformats.org/officeDocument/2006/relationships/image" Target="../media/image3.jpeg" /><Relationship Id="rId5" Type="http://schemas.openxmlformats.org/officeDocument/2006/relationships/theme" Target="../theme/theme1.xml" /><Relationship Id="rId10" Type="http://schemas.openxmlformats.org/officeDocument/2006/relationships/image" Target="../media/image2.jpeg" /><Relationship Id="rId4" Type="http://schemas.openxmlformats.org/officeDocument/2006/relationships/slideLayout" Target="../slideLayouts/slideLayout4.xml" /><Relationship Id="rId9" Type="http://schemas.openxmlformats.org/officeDocument/2006/relationships/image" Target="../media/image1.emf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DD2112-072F-C94A-727E-4EEEDCE161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7293680"/>
              </p:ext>
            </p:extLst>
          </p:nvPr>
        </p:nvGraphicFramePr>
        <p:xfrm>
          <a:off x="655" y="1800"/>
          <a:ext cx="655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8" imgW="307" imgH="307" progId="TCLayout.ActiveDocument.1">
                  <p:embed/>
                </p:oleObj>
              </mc:Choice>
              <mc:Fallback>
                <p:oleObj name="think-cell Slide" r:id="rId8" imgW="307" imgH="30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DD2112-072F-C94A-727E-4EEEDCE161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55" y="1800"/>
                        <a:ext cx="655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man, snow, standing&#10;&#10;Description automatically generated">
            <a:extLst>
              <a:ext uri="{FF2B5EF4-FFF2-40B4-BE49-F238E27FC236}">
                <a16:creationId xmlns:a16="http://schemas.microsoft.com/office/drawing/2014/main" id="{1682BFD2-2DE1-46D1-BCC4-C3479DB007A9}"/>
              </a:ext>
            </a:extLst>
          </p:cNvPr>
          <p:cNvPicPr/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>
          <a:xfrm rot="10800000">
            <a:off x="345757" y="6286945"/>
            <a:ext cx="4683443" cy="1485457"/>
          </a:xfrm>
          <a:prstGeom prst="rect">
            <a:avLst/>
          </a:prstGeom>
        </p:spPr>
      </p:pic>
      <p:pic>
        <p:nvPicPr>
          <p:cNvPr id="8" name="Picture 7" descr="A picture containing man, snow, standing&#10;&#10;Description automatically generated">
            <a:extLst>
              <a:ext uri="{FF2B5EF4-FFF2-40B4-BE49-F238E27FC236}">
                <a16:creationId xmlns:a16="http://schemas.microsoft.com/office/drawing/2014/main" id="{E040576E-BF26-4C17-B882-3096DEF8CE1C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"/>
          <a:stretch/>
        </p:blipFill>
        <p:spPr>
          <a:xfrm>
            <a:off x="-13970" y="3"/>
            <a:ext cx="5043170" cy="3122042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CB77CE2-F214-3941-9A5D-300C855B2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758" y="413812"/>
            <a:ext cx="4337685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618F81-30CB-394A-A37D-313155523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5758" y="2069042"/>
            <a:ext cx="4337685" cy="49315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EF2629-9BBE-8846-A0BC-DE7BCDC753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5758" y="7203867"/>
            <a:ext cx="113157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55C7B9-80B3-F54C-ABD0-B84CE89548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65923" y="7203867"/>
            <a:ext cx="1697355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A8FB6E-9C6C-D444-B3F4-4D447291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1873" y="7203867"/>
            <a:ext cx="113157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accent1"/>
                </a:solidFill>
              </a:defRPr>
            </a:lvl1pPr>
          </a:lstStyle>
          <a:p>
            <a:fld id="{9607A8EA-B714-0743-99B8-C9D6EFC8C29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33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86" r:id="rId3"/>
    <p:sldLayoutId id="2147483689" r:id="rId4"/>
  </p:sldLayoutIdLst>
  <p:hf sldNum="0" hdr="0" ftr="0" dt="0"/>
  <p:txStyles>
    <p:titleStyle>
      <a:lvl1pPr algn="ctr" defTabSz="777217" rtl="0" eaLnBrk="1" latinLnBrk="0" hangingPunct="1">
        <a:lnSpc>
          <a:spcPct val="90000"/>
        </a:lnSpc>
        <a:spcBef>
          <a:spcPct val="0"/>
        </a:spcBef>
        <a:buNone/>
        <a:defRPr sz="6800" kern="1200" cap="all" spc="0" baseline="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ctr" defTabSz="777217" rtl="0" eaLnBrk="1" latinLnBrk="0" hangingPunct="1">
        <a:lnSpc>
          <a:spcPct val="90000"/>
        </a:lnSpc>
        <a:spcBef>
          <a:spcPts val="850"/>
        </a:spcBef>
        <a:buFont typeface="Arial" panose="020B0604020202020204" pitchFamily="34" charset="0"/>
        <a:buNone/>
        <a:defRPr sz="2380" kern="1200">
          <a:solidFill>
            <a:schemeClr val="tx1"/>
          </a:solidFill>
          <a:latin typeface="+mn-lt"/>
          <a:ea typeface="+mn-ea"/>
          <a:cs typeface="+mn-cs"/>
        </a:defRPr>
      </a:lvl1pPr>
      <a:lvl2pPr marL="582913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2040" kern="1200">
          <a:solidFill>
            <a:schemeClr val="accent1"/>
          </a:solidFill>
          <a:latin typeface="+mn-lt"/>
          <a:ea typeface="+mn-ea"/>
          <a:cs typeface="+mn-cs"/>
        </a:defRPr>
      </a:lvl2pPr>
      <a:lvl3pPr marL="971521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7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360130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748739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137347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525956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914564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303173" indent="-194304" algn="l" defTabSz="777217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609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217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826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34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3043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651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260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869" algn="l" defTabSz="777217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5.png" /><Relationship Id="rId2" Type="http://schemas.openxmlformats.org/officeDocument/2006/relationships/tags" Target="../tags/tag4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3.bin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1B1006-A06D-7D45-2557-509466645B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874282"/>
              </p:ext>
            </p:extLst>
          </p:nvPr>
        </p:nvGraphicFramePr>
        <p:xfrm>
          <a:off x="-1725401" y="1800"/>
          <a:ext cx="1800" cy="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07" imgH="307" progId="TCLayout.ActiveDocument.1">
                  <p:embed/>
                </p:oleObj>
              </mc:Choice>
              <mc:Fallback>
                <p:oleObj name="think-cell Slide" r:id="rId4" imgW="307" imgH="30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B1006-A06D-7D45-2557-509466645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725401" y="1800"/>
                        <a:ext cx="1800" cy="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AB8A46-8358-40FD-84F2-551B3C3C072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391325" y="3396654"/>
            <a:ext cx="2447693" cy="478764"/>
          </a:xfrm>
          <a:solidFill>
            <a:srgbClr val="C0BD8A"/>
          </a:solidFill>
        </p:spPr>
        <p:txBody>
          <a:bodyPr vert="horz"/>
          <a:lstStyle/>
          <a:p>
            <a:pPr algn="r"/>
            <a:r>
              <a:rPr lang="en-US" sz="3173" dirty="0">
                <a:solidFill>
                  <a:schemeClr val="bg2">
                    <a:lumMod val="25000"/>
                  </a:schemeClr>
                </a:solidFill>
              </a:rPr>
              <a:t>9.16.2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0AC50F-47F0-4834-856D-444AD3D591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56" y="1826022"/>
            <a:ext cx="5026444" cy="942562"/>
          </a:xfrm>
          <a:noFill/>
          <a:ln w="38100">
            <a:noFill/>
          </a:ln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3200" spc="680" dirty="0">
                <a:solidFill>
                  <a:schemeClr val="tx1">
                    <a:lumMod val="50000"/>
                  </a:schemeClr>
                </a:solidFill>
                <a:latin typeface="Franklin Gothic Demi" panose="020B0703020102020204" pitchFamily="34" charset="0"/>
                <a:ea typeface="+mj-ea"/>
                <a:cs typeface="+mj-cs"/>
              </a:rPr>
              <a:t>1</a:t>
            </a:r>
            <a:r>
              <a:rPr lang="en-US" sz="3200" spc="680" baseline="30000" dirty="0">
                <a:solidFill>
                  <a:schemeClr val="tx1">
                    <a:lumMod val="50000"/>
                  </a:schemeClr>
                </a:solidFill>
                <a:latin typeface="Franklin Gothic Demi" panose="020B0703020102020204" pitchFamily="34" charset="0"/>
                <a:ea typeface="+mj-ea"/>
                <a:cs typeface="+mj-cs"/>
              </a:rPr>
              <a:t>st</a:t>
            </a:r>
            <a:r>
              <a:rPr lang="en-US" sz="3200" spc="680" dirty="0">
                <a:solidFill>
                  <a:schemeClr val="tx1">
                    <a:lumMod val="50000"/>
                  </a:schemeClr>
                </a:solidFill>
                <a:latin typeface="Franklin Gothic Demi" panose="020B0703020102020204" pitchFamily="34" charset="0"/>
                <a:ea typeface="+mj-ea"/>
                <a:cs typeface="+mj-cs"/>
              </a:rPr>
              <a:t> Annual </a:t>
            </a:r>
            <a:r>
              <a:rPr lang="en-US" sz="4000" spc="680" dirty="0">
                <a:solidFill>
                  <a:schemeClr val="accent3"/>
                </a:solidFill>
                <a:latin typeface="Franklin Gothic Demi" panose="020B0703020102020204" pitchFamily="34" charset="0"/>
                <a:ea typeface="+mj-ea"/>
                <a:cs typeface="+mj-cs"/>
              </a:rPr>
              <a:t>community YARD 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899BE0-BDA2-41E9-B2EC-1217228CB5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8719" y="6930116"/>
            <a:ext cx="4411762" cy="73406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tx1">
                    <a:lumMod val="50000"/>
                  </a:schemeClr>
                </a:solidFill>
              </a:rPr>
              <a:t>Saturday  9/16  - 7 to 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B75F93-2489-0D0B-F2BE-097A9ADB0B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5275" y="108224"/>
            <a:ext cx="2278650" cy="880884"/>
          </a:xfrm>
          <a:prstGeom prst="rect">
            <a:avLst/>
          </a:prstGeom>
        </p:spPr>
      </p:pic>
      <p:pic>
        <p:nvPicPr>
          <p:cNvPr id="8" name="Picture 7" descr="A map of a city&#10;&#10;Description automatically generated">
            <a:extLst>
              <a:ext uri="{FF2B5EF4-FFF2-40B4-BE49-F238E27FC236}">
                <a16:creationId xmlns:a16="http://schemas.microsoft.com/office/drawing/2014/main" id="{78570520-EFBE-63CD-DA19-989D38B160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376" y="3635997"/>
            <a:ext cx="3864447" cy="284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892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atercolor Theme">
  <a:themeElements>
    <a:clrScheme name="Watercolor Wedding">
      <a:dk1>
        <a:srgbClr val="818B8A"/>
      </a:dk1>
      <a:lt1>
        <a:srgbClr val="FFFFFF"/>
      </a:lt1>
      <a:dk2>
        <a:srgbClr val="17A1AB"/>
      </a:dk2>
      <a:lt2>
        <a:srgbClr val="D6D5D5"/>
      </a:lt2>
      <a:accent1>
        <a:srgbClr val="0C4A80"/>
      </a:accent1>
      <a:accent2>
        <a:srgbClr val="0D6397"/>
      </a:accent2>
      <a:accent3>
        <a:srgbClr val="1E83A9"/>
      </a:accent3>
      <a:accent4>
        <a:srgbClr val="478FB1"/>
      </a:accent4>
      <a:accent5>
        <a:srgbClr val="8CB8D1"/>
      </a:accent5>
      <a:accent6>
        <a:srgbClr val="C9E6F1"/>
      </a:accent6>
      <a:hlink>
        <a:srgbClr val="0000FF"/>
      </a:hlink>
      <a:folHlink>
        <a:srgbClr val="FF00FF"/>
      </a:folHlink>
    </a:clrScheme>
    <a:fontScheme name="_Water color Wash 2">
      <a:majorFont>
        <a:latin typeface="Franklin Gothic Medium Cond"/>
        <a:ea typeface="Gill Sans"/>
        <a:cs typeface="Gill Sans"/>
      </a:majorFont>
      <a:minorFont>
        <a:latin typeface="Franklin Gothic Book"/>
        <a:ea typeface="Gill Sans"/>
        <a:cs typeface="Gill Sans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38100" tIns="38100" rIns="38100" bIns="38100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381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tf56550644_win32_fixed" id="{627B62D5-4D79-4A6D-99BA-54E059AD6215}" vid="{B374CE13-22A3-412A-9793-F013EE1726F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4" ma:contentTypeDescription="Create a new document." ma:contentTypeScope="" ma:versionID="2d714a3296df14eba7a100bb665443ca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49549bf45bfbbfb6cffed527380e77e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499F06F-110D-421D-8209-69F6D19CE9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3A40627-4075-46BD-A9BE-DC3C2A67087C}">
  <ds:schemaRefs>
    <ds:schemaRef ds:uri="http://schemas.microsoft.com/office/2006/metadata/properties"/>
    <ds:schemaRef ds:uri="http://www.w3.org/2000/xmlns/"/>
    <ds:schemaRef ds:uri="http://schemas.microsoft.com/sharepoint/v3"/>
    <ds:schemaRef ds:uri="http://www.w3.org/2001/XMLSchema-instance"/>
    <ds:schemaRef ds:uri="71af3243-3dd4-4a8d-8c0d-dd76da1f02a5"/>
    <ds:schemaRef ds:uri="http://schemas.microsoft.com/office/infopath/2007/PartnerControls"/>
    <ds:schemaRef ds:uri="230e9df3-be65-4c73-a93b-d1236ebd677e"/>
  </ds:schemaRefs>
</ds:datastoreItem>
</file>

<file path=customXml/itemProps3.xml><?xml version="1.0" encoding="utf-8"?>
<ds:datastoreItem xmlns:ds="http://schemas.openxmlformats.org/officeDocument/2006/customXml" ds:itemID="{F02D24AA-DCC5-4B9B-81ED-FE092F6A34C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http://schemas.microsoft.com/sharepoint/v3"/>
    <ds:schemaRef ds:uri="71af3243-3dd4-4a8d-8c0d-dd76da1f02a5"/>
    <ds:schemaRef ds:uri="16c05727-aa75-4e4a-9b5f-8a80a1165891"/>
    <ds:schemaRef ds:uri="230e9df3-be65-4c73-a93b-d1236ebd677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atercolor wash wedding signs</Template>
  <TotalTime>437</TotalTime>
  <Words>12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Watercolor Theme</vt:lpstr>
      <vt:lpstr>9.16.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DAY   7-2</dc:title>
  <dc:creator>Graham, Denise</dc:creator>
  <cp:lastModifiedBy>Denise Graham</cp:lastModifiedBy>
  <cp:revision>10</cp:revision>
  <cp:lastPrinted>2023-09-12T13:50:20Z</cp:lastPrinted>
  <dcterms:created xsi:type="dcterms:W3CDTF">2023-09-10T16:38:17Z</dcterms:created>
  <dcterms:modified xsi:type="dcterms:W3CDTF">2023-09-12T18:0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SIP_Label_ff6dbec8-95a8-4638-9f5f-bd076536645c_Enabled">
    <vt:lpwstr>true</vt:lpwstr>
  </property>
  <property fmtid="{D5CDD505-2E9C-101B-9397-08002B2CF9AE}" pid="4" name="MSIP_Label_ff6dbec8-95a8-4638-9f5f-bd076536645c_SetDate">
    <vt:lpwstr>2023-09-10T16:55:35Z</vt:lpwstr>
  </property>
  <property fmtid="{D5CDD505-2E9C-101B-9397-08002B2CF9AE}" pid="5" name="MSIP_Label_ff6dbec8-95a8-4638-9f5f-bd076536645c_Method">
    <vt:lpwstr>Standard</vt:lpwstr>
  </property>
  <property fmtid="{D5CDD505-2E9C-101B-9397-08002B2CF9AE}" pid="6" name="MSIP_Label_ff6dbec8-95a8-4638-9f5f-bd076536645c_Name">
    <vt:lpwstr>Restricted - Default</vt:lpwstr>
  </property>
  <property fmtid="{D5CDD505-2E9C-101B-9397-08002B2CF9AE}" pid="7" name="MSIP_Label_ff6dbec8-95a8-4638-9f5f-bd076536645c_SiteId">
    <vt:lpwstr>5dbf1add-202a-4b8d-815b-bf0fb024e033</vt:lpwstr>
  </property>
  <property fmtid="{D5CDD505-2E9C-101B-9397-08002B2CF9AE}" pid="8" name="MSIP_Label_ff6dbec8-95a8-4638-9f5f-bd076536645c_ActionId">
    <vt:lpwstr>84515346-d5f7-4f47-b2d4-9ca25af90bff</vt:lpwstr>
  </property>
  <property fmtid="{D5CDD505-2E9C-101B-9397-08002B2CF9AE}" pid="9" name="MSIP_Label_ff6dbec8-95a8-4638-9f5f-bd076536645c_ContentBits">
    <vt:lpwstr>0</vt:lpwstr>
  </property>
</Properties>
</file>